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7" r:id="rId1"/>
    <p:sldMasterId id="2147483669" r:id="rId2"/>
    <p:sldMasterId id="2147483671" r:id="rId3"/>
  </p:sldMasterIdLst>
  <p:notesMasterIdLst>
    <p:notesMasterId r:id="rId34"/>
  </p:notesMasterIdLst>
  <p:sldIdLst>
    <p:sldId id="283" r:id="rId4"/>
    <p:sldId id="284" r:id="rId5"/>
    <p:sldId id="256" r:id="rId6"/>
    <p:sldId id="286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271" r:id="rId21"/>
    <p:sldId id="272" r:id="rId22"/>
    <p:sldId id="273" r:id="rId23"/>
    <p:sldId id="274" r:id="rId24"/>
    <p:sldId id="275" r:id="rId25"/>
    <p:sldId id="276" r:id="rId26"/>
    <p:sldId id="277" r:id="rId27"/>
    <p:sldId id="970" r:id="rId28"/>
    <p:sldId id="279" r:id="rId29"/>
    <p:sldId id="280" r:id="rId30"/>
    <p:sldId id="281" r:id="rId31"/>
    <p:sldId id="282" r:id="rId32"/>
    <p:sldId id="993" r:id="rId33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35" roundtripDataSignature="AMtx7mgcHyFbE9yp/jRM/EnC2dXNimMa8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53"/>
    <p:restoredTop sz="94592"/>
  </p:normalViewPr>
  <p:slideViewPr>
    <p:cSldViewPr snapToGrid="0" snapToObjects="1">
      <p:cViewPr>
        <p:scale>
          <a:sx n="110" d="100"/>
          <a:sy n="110" d="100"/>
        </p:scale>
        <p:origin x="240" y="-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customschemas.google.com/relationships/presentationmetadata" Target="metadata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mayocp.2015.04.003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8" name="Google Shape;14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1" name="Google Shape;21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g7a9a820fcf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3" name="Google Shape;223;g7a9a820fcf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Google Shape;227;g7a9a820fcf_0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8" name="Google Shape;228;g7a9a820fcf_0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g7a9a820fcf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3" name="Google Shape;233;g7a9a820fcf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g7a9a820fcf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38" name="Google Shape;238;g7a9a820fcf_0_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Google Shape;242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3" name="Google Shape;24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9" name="Google Shape;24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5" name="Google Shape;255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g65b9f9983c_0_14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1" name="Google Shape;261;g65b9f9983c_0_14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3" name="Google Shape;16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g75b9768aea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67" name="Google Shape;267;g75b9768aea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g65b9f9983c_0_14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3" name="Google Shape;273;g65b9f9983c_0_14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133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COMPLICATIONS: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en-US" sz="2133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ransfers     N= 3</a:t>
            </a:r>
            <a:r>
              <a:rPr lang="en-US" sz="2133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                   	</a:t>
            </a:r>
            <a:r>
              <a:rPr lang="en-US" sz="2133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Active patients	         N= 22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r>
              <a:rPr lang="en-US" sz="2133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Emergency Dept Visits  3	Emergency Dept Visits      10</a:t>
            </a:r>
          </a:p>
          <a:p>
            <a:r>
              <a:rPr lang="en-US" sz="2133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ospital stays   	      1	Hospital stays	             8</a:t>
            </a:r>
          </a:p>
          <a:p>
            <a:r>
              <a:rPr lang="en-US" sz="2133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Death	      1	Death	             0</a:t>
            </a:r>
          </a:p>
          <a:p>
            <a:r>
              <a:rPr lang="en-US" sz="2133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 </a:t>
            </a:r>
          </a:p>
          <a:p>
            <a:pPr lvl="0"/>
            <a:r>
              <a:rPr lang="en-US" sz="2133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he one death occurred in a patient who is recorded as having a new PCP and who had a critical illness in July 2018.  Date and cause of death unknown but he had end stage liver disease.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lvl="0"/>
            <a:r>
              <a:rPr lang="en-US" sz="2133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ne active patient had a work-related injury.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lvl="0"/>
            <a:r>
              <a:rPr lang="en-US" sz="2133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Two patients had recurrent osteomyelitis complications (spine/foot).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lvl="0"/>
            <a:r>
              <a:rPr lang="en-US" sz="2133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ne patient developed an allergic reaction to buprenorphine during a trial transition from oxycodone and he resumed oxycodone therapy. 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lvl="0"/>
            <a:r>
              <a:rPr lang="en-US" sz="2133" i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One patient was identified as using non-prescribed benzodiazepines on drug screens, elevating the level of monitoring.</a:t>
            </a:r>
            <a:endParaRPr lang="en-US" sz="2133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6678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g7a9a820fcf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4" name="Google Shape;284;g7a9a820fcf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g6c0d21fccd_1_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0" name="Google Shape;290;g6c0d21fccd_1_2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g65b9f9983c_0_14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6" name="Google Shape;296;g65b9f9983c_0_14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2" name="Google Shape;302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>
                <a:solidFill>
                  <a:schemeClr val="dk1"/>
                </a:solidFill>
              </a:rPr>
              <a:t>DOI:</a:t>
            </a:r>
            <a:endParaRPr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10.1016/j.mayocp.2015.04.003</a:t>
            </a:r>
            <a:endParaRPr u="sng">
              <a:solidFill>
                <a:schemeClr val="hlink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9" name="Google Shape;16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g7aab3cfde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5" name="Google Shape;175;g7aab3cfde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75bd6d2cc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1" name="Google Shape;181;g75bd6d2cca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75bd6d2cca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75bd6d2cca_0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g75bd6d2cca_0_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3" name="Google Shape;193;g75bd6d2cca_0_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Google Shape;19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g75b9768aea_0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5" name="Google Shape;205;g75b9768aea_0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9148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65b9f9983c_0_1289"/>
          <p:cNvSpPr txBox="1">
            <a:spLocks noGrp="1"/>
          </p:cNvSpPr>
          <p:nvPr>
            <p:ph type="title"/>
          </p:nvPr>
        </p:nvSpPr>
        <p:spPr>
          <a:xfrm>
            <a:off x="609600" y="609601"/>
            <a:ext cx="10363200" cy="14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28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g65b9f9983c_0_1289"/>
          <p:cNvSpPr txBox="1">
            <a:spLocks noGrp="1"/>
          </p:cNvSpPr>
          <p:nvPr>
            <p:ph type="body" idx="1"/>
          </p:nvPr>
        </p:nvSpPr>
        <p:spPr>
          <a:xfrm>
            <a:off x="609600" y="2142068"/>
            <a:ext cx="10363200" cy="3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1000"/>
              </a:spcBef>
              <a:spcAft>
                <a:spcPts val="10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g65b9f9983c_0_1289"/>
          <p:cNvSpPr txBox="1">
            <a:spLocks noGrp="1"/>
          </p:cNvSpPr>
          <p:nvPr>
            <p:ph type="dt" idx="10"/>
          </p:nvPr>
        </p:nvSpPr>
        <p:spPr>
          <a:xfrm>
            <a:off x="8698283" y="5870576"/>
            <a:ext cx="16161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g65b9f9983c_0_1289"/>
          <p:cNvSpPr txBox="1">
            <a:spLocks noGrp="1"/>
          </p:cNvSpPr>
          <p:nvPr>
            <p:ph type="ftr" idx="11"/>
          </p:nvPr>
        </p:nvSpPr>
        <p:spPr>
          <a:xfrm>
            <a:off x="609600" y="5870576"/>
            <a:ext cx="79872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g65b9f9983c_0_1289"/>
          <p:cNvSpPr txBox="1">
            <a:spLocks noGrp="1"/>
          </p:cNvSpPr>
          <p:nvPr>
            <p:ph type="sldNum" idx="12"/>
          </p:nvPr>
        </p:nvSpPr>
        <p:spPr>
          <a:xfrm>
            <a:off x="10416114" y="5870576"/>
            <a:ext cx="556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3661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g65b9f9983c_0_1296"/>
          <p:cNvSpPr txBox="1">
            <a:spLocks noGrp="1"/>
          </p:cNvSpPr>
          <p:nvPr>
            <p:ph type="dt" idx="10"/>
          </p:nvPr>
        </p:nvSpPr>
        <p:spPr>
          <a:xfrm>
            <a:off x="8698283" y="5870576"/>
            <a:ext cx="16161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g65b9f9983c_0_1296"/>
          <p:cNvSpPr txBox="1">
            <a:spLocks noGrp="1"/>
          </p:cNvSpPr>
          <p:nvPr>
            <p:ph type="ftr" idx="11"/>
          </p:nvPr>
        </p:nvSpPr>
        <p:spPr>
          <a:xfrm>
            <a:off x="609600" y="5870576"/>
            <a:ext cx="79872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g65b9f9983c_0_1296"/>
          <p:cNvSpPr txBox="1">
            <a:spLocks noGrp="1"/>
          </p:cNvSpPr>
          <p:nvPr>
            <p:ph type="sldNum" idx="12"/>
          </p:nvPr>
        </p:nvSpPr>
        <p:spPr>
          <a:xfrm>
            <a:off x="10416114" y="5870576"/>
            <a:ext cx="556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91754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57696"/>
            <a:ext cx="5384800" cy="209288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57695"/>
            <a:ext cx="5384800" cy="209288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McK 2. Slide 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8001" y="733198"/>
            <a:ext cx="11375497" cy="323165"/>
          </a:xfrm>
          <a:prstGeom prst="rect">
            <a:avLst/>
          </a:prstGeom>
        </p:spPr>
        <p:txBody>
          <a:bodyPr/>
          <a:lstStyle>
            <a:lvl1pPr>
              <a:defRPr lang="en-US" sz="2100" b="1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340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17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1A7801-A444-D04C-900C-E2668435A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2002" y="6616744"/>
            <a:ext cx="839999" cy="241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015238DE-81BF-4FFF-94AB-0F6ABEA7BDD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593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5624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g65b9f9983c_0_1282"/>
          <p:cNvSpPr txBox="1">
            <a:spLocks noGrp="1"/>
          </p:cNvSpPr>
          <p:nvPr>
            <p:ph type="ctrTitle"/>
          </p:nvPr>
        </p:nvSpPr>
        <p:spPr>
          <a:xfrm>
            <a:off x="3658631" y="1964267"/>
            <a:ext cx="7619100" cy="24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g65b9f9983c_0_1282"/>
          <p:cNvSpPr txBox="1">
            <a:spLocks noGrp="1"/>
          </p:cNvSpPr>
          <p:nvPr>
            <p:ph type="subTitle" idx="1"/>
          </p:nvPr>
        </p:nvSpPr>
        <p:spPr>
          <a:xfrm>
            <a:off x="3658631" y="4385733"/>
            <a:ext cx="7619100" cy="140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800"/>
              <a:buNone/>
              <a:defRPr sz="1800" cap="none">
                <a:solidFill>
                  <a:schemeClr val="lt1"/>
                </a:solidFill>
              </a:defRPr>
            </a:lvl1pPr>
            <a:lvl2pPr lvl="1" algn="ctr">
              <a:spcBef>
                <a:spcPts val="10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2pPr>
            <a:lvl3pPr lvl="2" algn="ctr">
              <a:spcBef>
                <a:spcPts val="100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4pPr>
            <a:lvl5pPr lvl="4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5pPr>
            <a:lvl6pPr lvl="5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6pPr>
            <a:lvl7pPr lvl="6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7pPr>
            <a:lvl8pPr lvl="7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8pPr>
            <a:lvl9pPr lvl="8" algn="ctr">
              <a:spcBef>
                <a:spcPts val="1000"/>
              </a:spcBef>
              <a:spcAft>
                <a:spcPts val="1000"/>
              </a:spcAft>
              <a:buSzPts val="12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g65b9f9983c_0_1282"/>
          <p:cNvSpPr txBox="1">
            <a:spLocks noGrp="1"/>
          </p:cNvSpPr>
          <p:nvPr>
            <p:ph type="dt" idx="10"/>
          </p:nvPr>
        </p:nvSpPr>
        <p:spPr>
          <a:xfrm>
            <a:off x="9003081" y="5870576"/>
            <a:ext cx="16161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g65b9f9983c_0_1282"/>
          <p:cNvSpPr txBox="1">
            <a:spLocks noGrp="1"/>
          </p:cNvSpPr>
          <p:nvPr>
            <p:ph type="ftr" idx="11"/>
          </p:nvPr>
        </p:nvSpPr>
        <p:spPr>
          <a:xfrm>
            <a:off x="3658631" y="5870576"/>
            <a:ext cx="5242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g65b9f9983c_0_1282"/>
          <p:cNvSpPr txBox="1">
            <a:spLocks noGrp="1"/>
          </p:cNvSpPr>
          <p:nvPr>
            <p:ph type="sldNum" idx="12"/>
          </p:nvPr>
        </p:nvSpPr>
        <p:spPr>
          <a:xfrm>
            <a:off x="10720914" y="5870576"/>
            <a:ext cx="556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699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65b9f9983c_0_1289"/>
          <p:cNvSpPr txBox="1">
            <a:spLocks noGrp="1"/>
          </p:cNvSpPr>
          <p:nvPr>
            <p:ph type="title"/>
          </p:nvPr>
        </p:nvSpPr>
        <p:spPr>
          <a:xfrm>
            <a:off x="609600" y="609601"/>
            <a:ext cx="10363200" cy="14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  <a:defRPr sz="28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g65b9f9983c_0_1289"/>
          <p:cNvSpPr txBox="1">
            <a:spLocks noGrp="1"/>
          </p:cNvSpPr>
          <p:nvPr>
            <p:ph type="body" idx="1"/>
          </p:nvPr>
        </p:nvSpPr>
        <p:spPr>
          <a:xfrm>
            <a:off x="609600" y="2142068"/>
            <a:ext cx="10363200" cy="3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342900" algn="l">
              <a:spcBef>
                <a:spcPts val="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7pPr>
            <a:lvl8pPr marL="3657600" lvl="7" indent="-342900" algn="l"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8pPr>
            <a:lvl9pPr marL="4114800" lvl="8" indent="-342900" algn="l">
              <a:spcBef>
                <a:spcPts val="1000"/>
              </a:spcBef>
              <a:spcAft>
                <a:spcPts val="1000"/>
              </a:spcAft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g65b9f9983c_0_1289"/>
          <p:cNvSpPr txBox="1">
            <a:spLocks noGrp="1"/>
          </p:cNvSpPr>
          <p:nvPr>
            <p:ph type="dt" idx="10"/>
          </p:nvPr>
        </p:nvSpPr>
        <p:spPr>
          <a:xfrm>
            <a:off x="8698283" y="5870576"/>
            <a:ext cx="16161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g65b9f9983c_0_1289"/>
          <p:cNvSpPr txBox="1">
            <a:spLocks noGrp="1"/>
          </p:cNvSpPr>
          <p:nvPr>
            <p:ph type="ftr" idx="11"/>
          </p:nvPr>
        </p:nvSpPr>
        <p:spPr>
          <a:xfrm>
            <a:off x="609600" y="5870576"/>
            <a:ext cx="79872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g65b9f9983c_0_1289"/>
          <p:cNvSpPr txBox="1">
            <a:spLocks noGrp="1"/>
          </p:cNvSpPr>
          <p:nvPr>
            <p:ph type="sldNum" idx="12"/>
          </p:nvPr>
        </p:nvSpPr>
        <p:spPr>
          <a:xfrm>
            <a:off x="10416114" y="5870576"/>
            <a:ext cx="556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9186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g65b9f9983c_0_1296"/>
          <p:cNvSpPr txBox="1">
            <a:spLocks noGrp="1"/>
          </p:cNvSpPr>
          <p:nvPr>
            <p:ph type="dt" idx="10"/>
          </p:nvPr>
        </p:nvSpPr>
        <p:spPr>
          <a:xfrm>
            <a:off x="8698283" y="5870576"/>
            <a:ext cx="16161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g65b9f9983c_0_1296"/>
          <p:cNvSpPr txBox="1">
            <a:spLocks noGrp="1"/>
          </p:cNvSpPr>
          <p:nvPr>
            <p:ph type="ftr" idx="11"/>
          </p:nvPr>
        </p:nvSpPr>
        <p:spPr>
          <a:xfrm>
            <a:off x="609600" y="5870576"/>
            <a:ext cx="79872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g65b9f9983c_0_1296"/>
          <p:cNvSpPr txBox="1">
            <a:spLocks noGrp="1"/>
          </p:cNvSpPr>
          <p:nvPr>
            <p:ph type="sldNum" idx="12"/>
          </p:nvPr>
        </p:nvSpPr>
        <p:spPr>
          <a:xfrm>
            <a:off x="10416114" y="5870576"/>
            <a:ext cx="556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404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57696"/>
            <a:ext cx="5384800" cy="209288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857695"/>
            <a:ext cx="5384800" cy="209288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McK 2. Slide 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08001" y="733198"/>
            <a:ext cx="11375497" cy="323165"/>
          </a:xfrm>
          <a:prstGeom prst="rect">
            <a:avLst/>
          </a:prstGeom>
        </p:spPr>
        <p:txBody>
          <a:bodyPr/>
          <a:lstStyle>
            <a:lvl1pPr>
              <a:defRPr lang="en-US" sz="2100" b="1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91340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17" algn="l"/>
              </a:tabLst>
            </a:pPr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1A7801-A444-D04C-900C-E2668435A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2002" y="6616744"/>
            <a:ext cx="839999" cy="241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fld id="{015238DE-81BF-4FFF-94AB-0F6ABEA7BDD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727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6309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2333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g65b9f9983c_0_1282"/>
          <p:cNvSpPr txBox="1">
            <a:spLocks noGrp="1"/>
          </p:cNvSpPr>
          <p:nvPr>
            <p:ph type="ctrTitle"/>
          </p:nvPr>
        </p:nvSpPr>
        <p:spPr>
          <a:xfrm>
            <a:off x="3658631" y="1964267"/>
            <a:ext cx="7619100" cy="24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Calibri"/>
              <a:buNone/>
              <a:defRPr sz="4400"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" name="Google Shape;14;g65b9f9983c_0_1282"/>
          <p:cNvSpPr txBox="1">
            <a:spLocks noGrp="1"/>
          </p:cNvSpPr>
          <p:nvPr>
            <p:ph type="subTitle" idx="1"/>
          </p:nvPr>
        </p:nvSpPr>
        <p:spPr>
          <a:xfrm>
            <a:off x="3658631" y="4385733"/>
            <a:ext cx="7619100" cy="140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800"/>
              <a:buNone/>
              <a:defRPr sz="1800" cap="none">
                <a:solidFill>
                  <a:schemeClr val="lt1"/>
                </a:solidFill>
              </a:defRPr>
            </a:lvl1pPr>
            <a:lvl2pPr lvl="1" algn="ctr">
              <a:spcBef>
                <a:spcPts val="10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2pPr>
            <a:lvl3pPr lvl="2" algn="ctr">
              <a:spcBef>
                <a:spcPts val="100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3pPr>
            <a:lvl4pPr lvl="3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4pPr>
            <a:lvl5pPr lvl="4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5pPr>
            <a:lvl6pPr lvl="5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6pPr>
            <a:lvl7pPr lvl="6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7pPr>
            <a:lvl8pPr lvl="7" algn="ctr">
              <a:spcBef>
                <a:spcPts val="1000"/>
              </a:spcBef>
              <a:spcAft>
                <a:spcPts val="0"/>
              </a:spcAft>
              <a:buSzPts val="1200"/>
              <a:buNone/>
              <a:defRPr>
                <a:solidFill>
                  <a:schemeClr val="lt1"/>
                </a:solidFill>
              </a:defRPr>
            </a:lvl8pPr>
            <a:lvl9pPr lvl="8" algn="ctr">
              <a:spcBef>
                <a:spcPts val="1000"/>
              </a:spcBef>
              <a:spcAft>
                <a:spcPts val="1000"/>
              </a:spcAft>
              <a:buSzPts val="12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5" name="Google Shape;15;g65b9f9983c_0_1282"/>
          <p:cNvSpPr txBox="1">
            <a:spLocks noGrp="1"/>
          </p:cNvSpPr>
          <p:nvPr>
            <p:ph type="dt" idx="10"/>
          </p:nvPr>
        </p:nvSpPr>
        <p:spPr>
          <a:xfrm>
            <a:off x="9003081" y="5870576"/>
            <a:ext cx="16161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g65b9f9983c_0_1282"/>
          <p:cNvSpPr txBox="1">
            <a:spLocks noGrp="1"/>
          </p:cNvSpPr>
          <p:nvPr>
            <p:ph type="ftr" idx="11"/>
          </p:nvPr>
        </p:nvSpPr>
        <p:spPr>
          <a:xfrm>
            <a:off x="3658631" y="5870576"/>
            <a:ext cx="5242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g65b9f9983c_0_1282"/>
          <p:cNvSpPr txBox="1">
            <a:spLocks noGrp="1"/>
          </p:cNvSpPr>
          <p:nvPr>
            <p:ph type="sldNum" idx="12"/>
          </p:nvPr>
        </p:nvSpPr>
        <p:spPr>
          <a:xfrm>
            <a:off x="10720914" y="5870576"/>
            <a:ext cx="556800" cy="37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862636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A75AEE1-B6DE-6F4C-9F58-902BA27CEA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0719" t="11852" r="15987" b="28812"/>
          <a:stretch/>
        </p:blipFill>
        <p:spPr>
          <a:xfrm>
            <a:off x="-2" y="-2"/>
            <a:ext cx="12192003" cy="68580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30D740-1B91-0B4C-944C-DD23FA9F59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b="74482"/>
          <a:stretch/>
        </p:blipFill>
        <p:spPr>
          <a:xfrm>
            <a:off x="3" y="6220689"/>
            <a:ext cx="12192000" cy="28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63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656E3FF-A023-234E-97E3-FD73813921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8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0AD30B-5EFA-BC42-91AA-99519F6FF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b="74482"/>
          <a:stretch/>
        </p:blipFill>
        <p:spPr>
          <a:xfrm>
            <a:off x="3" y="6220689"/>
            <a:ext cx="12192000" cy="280003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71FEEE26-3C90-AE40-892D-E6D5D72E13AE}"/>
              </a:ext>
            </a:extLst>
          </p:cNvPr>
          <p:cNvSpPr txBox="1">
            <a:spLocks/>
          </p:cNvSpPr>
          <p:nvPr userDrawn="1"/>
        </p:nvSpPr>
        <p:spPr>
          <a:xfrm>
            <a:off x="187890" y="6148654"/>
            <a:ext cx="13119520" cy="672758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390" dirty="0">
                <a:solidFill>
                  <a:schemeClr val="bg1"/>
                </a:solidFill>
                <a:latin typeface="Trebuchet MS" panose="020B0703020202090204" pitchFamily="34" charset="0"/>
              </a:rPr>
              <a:t>2019 STFM Conference on Practice &amp; Quality Improveme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D23FAB-B979-A547-B445-4B75E6F34449}"/>
              </a:ext>
            </a:extLst>
          </p:cNvPr>
          <p:cNvGrpSpPr/>
          <p:nvPr userDrawn="1"/>
        </p:nvGrpSpPr>
        <p:grpSpPr>
          <a:xfrm>
            <a:off x="378652" y="5472109"/>
            <a:ext cx="3404670" cy="631408"/>
            <a:chOff x="6222857" y="4616449"/>
            <a:chExt cx="1838522" cy="378844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0078923-131B-3E49-907F-865F5ADDD0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222857" y="4671377"/>
              <a:ext cx="800483" cy="32391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0579BBB-5D0F-414D-924D-332622F348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/>
            <a:stretch>
              <a:fillRect/>
            </a:stretch>
          </p:blipFill>
          <p:spPr>
            <a:xfrm>
              <a:off x="7116001" y="4616449"/>
              <a:ext cx="945378" cy="355601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4F0A667B-5BEA-914C-AE6D-4A7938F336A4}"/>
              </a:ext>
            </a:extLst>
          </p:cNvPr>
          <p:cNvSpPr txBox="1"/>
          <p:nvPr userDrawn="1"/>
        </p:nvSpPr>
        <p:spPr>
          <a:xfrm>
            <a:off x="5" y="321715"/>
            <a:ext cx="1198323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b="1" i="1" dirty="0">
                <a:solidFill>
                  <a:schemeClr val="bg1"/>
                </a:solidFill>
                <a:latin typeface="Trebuchet MS" panose="020B0703020202090204" pitchFamily="34" charset="0"/>
              </a:rPr>
              <a:t>Join the conversation on Twitter #CPQI19</a:t>
            </a:r>
          </a:p>
        </p:txBody>
      </p:sp>
      <p:sp>
        <p:nvSpPr>
          <p:cNvPr id="14" name="Slide Number Placeholder 12">
            <a:extLst>
              <a:ext uri="{FF2B5EF4-FFF2-40B4-BE49-F238E27FC236}">
                <a16:creationId xmlns:a16="http://schemas.microsoft.com/office/drawing/2014/main" id="{32513540-DD87-DC4F-9199-DA0148227E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56855" y="6114734"/>
            <a:ext cx="343076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50">
                <a:solidFill>
                  <a:schemeClr val="accent3"/>
                </a:solidFill>
              </a:defRPr>
            </a:lvl1pPr>
          </a:lstStyle>
          <a:p>
            <a:fld id="{48934AA4-1363-364F-933E-70FB16CB3CC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473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3" r:id="rId2"/>
    <p:sldLayoutId id="2147483674" r:id="rId3"/>
    <p:sldLayoutId id="2147483675" r:id="rId4"/>
    <p:sldLayoutId id="2147483693" r:id="rId5"/>
    <p:sldLayoutId id="2147483691" r:id="rId6"/>
  </p:sldLayoutIdLst>
  <p:txStyles>
    <p:titleStyle>
      <a:lvl1pPr algn="l" defTabSz="2286000" rtl="0" eaLnBrk="1" latinLnBrk="0" hangingPunct="1">
        <a:lnSpc>
          <a:spcPct val="90000"/>
        </a:lnSpc>
        <a:spcBef>
          <a:spcPct val="0"/>
        </a:spcBef>
        <a:buNone/>
        <a:defRPr sz="11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71500" indent="-571500" algn="l" defTabSz="2286000" rtl="0" eaLnBrk="1" latinLnBrk="0" hangingPunct="1">
        <a:lnSpc>
          <a:spcPct val="90000"/>
        </a:lnSpc>
        <a:spcBef>
          <a:spcPts val="2500"/>
        </a:spcBef>
        <a:buFont typeface="Arial" panose="020B0604020202020204" pitchFamily="34" charset="0"/>
        <a:buChar char="•"/>
        <a:defRPr sz="70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6000" kern="1200">
          <a:solidFill>
            <a:schemeClr val="tx1"/>
          </a:solidFill>
          <a:latin typeface="+mn-lt"/>
          <a:ea typeface="+mn-ea"/>
          <a:cs typeface="+mn-cs"/>
        </a:defRPr>
      </a:lvl2pPr>
      <a:lvl3pPr marL="2857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3pPr>
      <a:lvl4pPr marL="4000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4pPr>
      <a:lvl5pPr marL="5143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5pPr>
      <a:lvl6pPr marL="6286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7pPr>
      <a:lvl8pPr marL="8572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8pPr>
      <a:lvl9pPr marL="9715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143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3pPr>
      <a:lvl4pPr marL="3429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4pPr>
      <a:lvl5pPr marL="4572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5pPr>
      <a:lvl6pPr marL="5715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6pPr>
      <a:lvl7pPr marL="6858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7pPr>
      <a:lvl8pPr marL="8001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20EE01A-DA7C-DB48-B6D4-85DC16A5AE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b="74482"/>
          <a:stretch/>
        </p:blipFill>
        <p:spPr>
          <a:xfrm>
            <a:off x="3" y="6220689"/>
            <a:ext cx="12192000" cy="280003"/>
          </a:xfrm>
          <a:prstGeom prst="rect">
            <a:avLst/>
          </a:prstGeom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1547FAB9-79D5-9E49-AC36-D410C9AE0AC6}"/>
              </a:ext>
            </a:extLst>
          </p:cNvPr>
          <p:cNvSpPr txBox="1">
            <a:spLocks/>
          </p:cNvSpPr>
          <p:nvPr userDrawn="1"/>
        </p:nvSpPr>
        <p:spPr>
          <a:xfrm>
            <a:off x="187890" y="6148654"/>
            <a:ext cx="13119520" cy="672758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390" dirty="0">
                <a:solidFill>
                  <a:schemeClr val="bg1"/>
                </a:solidFill>
                <a:latin typeface="Trebuchet MS" panose="020B0703020202090204" pitchFamily="34" charset="0"/>
              </a:rPr>
              <a:t>2019 STFM Conference on Practice &amp; Quality Improvemen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D802ADA-7FE2-A24C-A090-911CE352F2A0}"/>
              </a:ext>
            </a:extLst>
          </p:cNvPr>
          <p:cNvGrpSpPr/>
          <p:nvPr userDrawn="1"/>
        </p:nvGrpSpPr>
        <p:grpSpPr>
          <a:xfrm>
            <a:off x="378652" y="5472109"/>
            <a:ext cx="3404670" cy="631408"/>
            <a:chOff x="6222857" y="4616449"/>
            <a:chExt cx="1838522" cy="378844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0E44000-9CAF-7F42-B930-06A6A19552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6222857" y="4671377"/>
              <a:ext cx="800483" cy="323916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B3B8C95-2CC6-384E-98C3-7E3014BDE1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7116001" y="4616449"/>
              <a:ext cx="945378" cy="355601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D4A8C79-5D84-BA4C-B969-85BA21BF7D4A}"/>
              </a:ext>
            </a:extLst>
          </p:cNvPr>
          <p:cNvSpPr txBox="1"/>
          <p:nvPr userDrawn="1"/>
        </p:nvSpPr>
        <p:spPr>
          <a:xfrm>
            <a:off x="5" y="321715"/>
            <a:ext cx="1198323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b="1" i="1" dirty="0">
                <a:solidFill>
                  <a:schemeClr val="accent5"/>
                </a:solidFill>
                <a:latin typeface="Trebuchet MS" panose="020B0703020202090204" pitchFamily="34" charset="0"/>
              </a:rPr>
              <a:t>Join the conversation on Twitter #CPQI19</a:t>
            </a:r>
          </a:p>
        </p:txBody>
      </p:sp>
      <p:sp>
        <p:nvSpPr>
          <p:cNvPr id="14" name="Slide Number Placeholder 12">
            <a:extLst>
              <a:ext uri="{FF2B5EF4-FFF2-40B4-BE49-F238E27FC236}">
                <a16:creationId xmlns:a16="http://schemas.microsoft.com/office/drawing/2014/main" id="{A17D9FC3-E1B2-1C48-9B2B-D5B9925EE9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56855" y="6114734"/>
            <a:ext cx="343076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50">
                <a:solidFill>
                  <a:schemeClr val="accent3"/>
                </a:solidFill>
              </a:defRPr>
            </a:lvl1pPr>
          </a:lstStyle>
          <a:p>
            <a:fld id="{48934AA4-1363-364F-933E-70FB16CB3CC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9C467FA-18F8-B145-B0E3-80B1FE13097B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64994" y="5513416"/>
            <a:ext cx="3512373" cy="55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65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6" r:id="rId2"/>
    <p:sldLayoutId id="2147483677" r:id="rId3"/>
    <p:sldLayoutId id="2147483678" r:id="rId4"/>
    <p:sldLayoutId id="2147483694" r:id="rId5"/>
  </p:sldLayoutIdLst>
  <p:txStyles>
    <p:titleStyle>
      <a:lvl1pPr algn="l" defTabSz="2286000" rtl="0" eaLnBrk="1" latinLnBrk="0" hangingPunct="1">
        <a:lnSpc>
          <a:spcPct val="90000"/>
        </a:lnSpc>
        <a:spcBef>
          <a:spcPct val="0"/>
        </a:spcBef>
        <a:buNone/>
        <a:defRPr sz="11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71500" indent="-571500" algn="l" defTabSz="2286000" rtl="0" eaLnBrk="1" latinLnBrk="0" hangingPunct="1">
        <a:lnSpc>
          <a:spcPct val="90000"/>
        </a:lnSpc>
        <a:spcBef>
          <a:spcPts val="2500"/>
        </a:spcBef>
        <a:buFont typeface="Arial" panose="020B0604020202020204" pitchFamily="34" charset="0"/>
        <a:buChar char="•"/>
        <a:defRPr sz="70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6000" kern="1200">
          <a:solidFill>
            <a:schemeClr val="tx1"/>
          </a:solidFill>
          <a:latin typeface="+mn-lt"/>
          <a:ea typeface="+mn-ea"/>
          <a:cs typeface="+mn-cs"/>
        </a:defRPr>
      </a:lvl2pPr>
      <a:lvl3pPr marL="2857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5000" kern="1200">
          <a:solidFill>
            <a:schemeClr val="tx1"/>
          </a:solidFill>
          <a:latin typeface="+mn-lt"/>
          <a:ea typeface="+mn-ea"/>
          <a:cs typeface="+mn-cs"/>
        </a:defRPr>
      </a:lvl3pPr>
      <a:lvl4pPr marL="4000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4pPr>
      <a:lvl5pPr marL="5143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5pPr>
      <a:lvl6pPr marL="6286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6pPr>
      <a:lvl7pPr marL="7429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7pPr>
      <a:lvl8pPr marL="8572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8pPr>
      <a:lvl9pPr marL="9715500" indent="-571500" algn="l" defTabSz="2286000" rtl="0" eaLnBrk="1" latinLnBrk="0" hangingPunct="1">
        <a:lnSpc>
          <a:spcPct val="90000"/>
        </a:lnSpc>
        <a:spcBef>
          <a:spcPts val="125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143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3pPr>
      <a:lvl4pPr marL="3429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4pPr>
      <a:lvl5pPr marL="4572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5pPr>
      <a:lvl6pPr marL="5715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6pPr>
      <a:lvl7pPr marL="6858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7pPr>
      <a:lvl8pPr marL="8001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8pPr>
      <a:lvl9pPr marL="9144000" algn="l" defTabSz="2286000" rtl="0" eaLnBrk="1" latinLnBrk="0" hangingPunct="1">
        <a:defRPr sz="4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23584313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mayocp.2015.04.003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mayocp.2015.04.003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11/pme.12520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1449E6C-6099-0B4A-8894-5F155B82A31E}"/>
              </a:ext>
            </a:extLst>
          </p:cNvPr>
          <p:cNvSpPr txBox="1">
            <a:spLocks/>
          </p:cNvSpPr>
          <p:nvPr/>
        </p:nvSpPr>
        <p:spPr>
          <a:xfrm>
            <a:off x="2050928" y="2832529"/>
            <a:ext cx="11430000" cy="2652448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3657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buClrTx/>
            </a:pPr>
            <a:r>
              <a:rPr lang="en-US" sz="3500" dirty="0">
                <a:solidFill>
                  <a:srgbClr val="4472C4"/>
                </a:solidFill>
                <a:latin typeface="Trebuchet MS" panose="020B0703020202090204" pitchFamily="34" charset="0"/>
              </a:rPr>
              <a:t>Practice &amp; </a:t>
            </a:r>
            <a:br>
              <a:rPr lang="en-US" sz="3500" dirty="0">
                <a:solidFill>
                  <a:srgbClr val="4472C4"/>
                </a:solidFill>
                <a:latin typeface="Trebuchet MS" panose="020B0703020202090204" pitchFamily="34" charset="0"/>
              </a:rPr>
            </a:br>
            <a:r>
              <a:rPr lang="en-US" sz="3500" dirty="0">
                <a:solidFill>
                  <a:srgbClr val="4472C4"/>
                </a:solidFill>
                <a:latin typeface="Trebuchet MS" panose="020B0703020202090204" pitchFamily="34" charset="0"/>
              </a:rPr>
              <a:t>Quality Improvement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C3C3680-A464-0C4A-B3C0-5E667E6463B6}"/>
              </a:ext>
            </a:extLst>
          </p:cNvPr>
          <p:cNvSpPr txBox="1">
            <a:spLocks/>
          </p:cNvSpPr>
          <p:nvPr/>
        </p:nvSpPr>
        <p:spPr>
          <a:xfrm>
            <a:off x="2050928" y="2381500"/>
            <a:ext cx="9839640" cy="56063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2286000">
              <a:spcBef>
                <a:spcPts val="2500"/>
              </a:spcBef>
              <a:buClrTx/>
            </a:pPr>
            <a:r>
              <a:rPr lang="en-US" sz="2500" dirty="0">
                <a:solidFill>
                  <a:prstClr val="white"/>
                </a:solidFill>
                <a:latin typeface="Trebuchet MS" panose="020B0703020202090204" pitchFamily="34" charset="0"/>
              </a:rPr>
              <a:t>2019 STFM Conference o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85629AD-076B-1D48-855E-D05752C3F5A7}"/>
              </a:ext>
            </a:extLst>
          </p:cNvPr>
          <p:cNvGrpSpPr/>
          <p:nvPr/>
        </p:nvGrpSpPr>
        <p:grpSpPr>
          <a:xfrm>
            <a:off x="2207504" y="815529"/>
            <a:ext cx="2707828" cy="669568"/>
            <a:chOff x="6222857" y="4616449"/>
            <a:chExt cx="1838522" cy="37884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E1B3351-4830-0247-9B78-D6CBD33589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222857" y="4671377"/>
              <a:ext cx="800483" cy="323916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2FBA1E5-8C40-724A-A747-FAD06B4886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7116001" y="4616449"/>
              <a:ext cx="945378" cy="355601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1D98229-A2B3-6B4A-B46B-11140C4CA9CF}"/>
              </a:ext>
            </a:extLst>
          </p:cNvPr>
          <p:cNvGrpSpPr/>
          <p:nvPr/>
        </p:nvGrpSpPr>
        <p:grpSpPr>
          <a:xfrm>
            <a:off x="7602370" y="1349658"/>
            <a:ext cx="2206565" cy="2063685"/>
            <a:chOff x="4315485" y="1908430"/>
            <a:chExt cx="2079703" cy="1945037"/>
          </a:xfrm>
        </p:grpSpPr>
        <p:sp>
          <p:nvSpPr>
            <p:cNvPr id="10" name="Diamond 9">
              <a:extLst>
                <a:ext uri="{FF2B5EF4-FFF2-40B4-BE49-F238E27FC236}">
                  <a16:creationId xmlns:a16="http://schemas.microsoft.com/office/drawing/2014/main" id="{872F7F66-4EED-DB4F-B853-B2A672ADE9C2}"/>
                </a:ext>
              </a:extLst>
            </p:cNvPr>
            <p:cNvSpPr/>
            <p:nvPr/>
          </p:nvSpPr>
          <p:spPr>
            <a:xfrm>
              <a:off x="4450151" y="1908430"/>
              <a:ext cx="1945037" cy="1945037"/>
            </a:xfrm>
            <a:prstGeom prst="diamond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shade val="100000"/>
                    <a:satMod val="115000"/>
                  </a:scheme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8095">
                <a:buClrTx/>
              </a:pPr>
              <a:endParaRPr lang="en-US" sz="1513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" name="Diamond 10">
              <a:extLst>
                <a:ext uri="{FF2B5EF4-FFF2-40B4-BE49-F238E27FC236}">
                  <a16:creationId xmlns:a16="http://schemas.microsoft.com/office/drawing/2014/main" id="{6AA1C14A-EC2F-EF41-A863-418A4D8E44AD}"/>
                </a:ext>
              </a:extLst>
            </p:cNvPr>
            <p:cNvSpPr/>
            <p:nvPr/>
          </p:nvSpPr>
          <p:spPr>
            <a:xfrm>
              <a:off x="4315485" y="1908430"/>
              <a:ext cx="1945037" cy="1945037"/>
            </a:xfrm>
            <a:prstGeom prst="diamond">
              <a:avLst/>
            </a:prstGeom>
            <a:blipFill dpi="0" rotWithShape="1">
              <a:blip r:embed="rId4"/>
              <a:srcRect/>
              <a:stretch>
                <a:fillRect l="-6000" t="-2000" r="-22000" b="-2000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8095">
                <a:buClrTx/>
              </a:pPr>
              <a:endParaRPr lang="en-US" sz="1513" kern="120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33919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g75bd6d2cca_0_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400" b="1" dirty="0">
                <a:latin typeface="+mn-lt"/>
              </a:rPr>
              <a:t>When opioids fail in chronic pain management: the role for buprenorphine and hospitalization</a:t>
            </a:r>
            <a:endParaRPr sz="2400" dirty="0">
              <a:latin typeface="+mn-lt"/>
            </a:endParaRPr>
          </a:p>
        </p:txBody>
      </p:sp>
      <p:sp>
        <p:nvSpPr>
          <p:cNvPr id="196" name="Google Shape;196;g75bd6d2cca_0_10"/>
          <p:cNvSpPr txBox="1">
            <a:spLocks noGrp="1"/>
          </p:cNvSpPr>
          <p:nvPr>
            <p:ph type="body" idx="1"/>
          </p:nvPr>
        </p:nvSpPr>
        <p:spPr>
          <a:xfrm>
            <a:off x="609600" y="3149239"/>
            <a:ext cx="10363200" cy="3649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Looked at 76 patients on high dose opiates, hospitalized them for an average of 2 days, to switch to Buprenorphine in a controlled setting.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DME &gt;100’s mg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Followed up to 25 months post switch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⅔ reported moderate to dramatic improvement in pain and function, and there was an increase in employment rates.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Median Buprenorphine Dose was 8 mg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1400" u="sng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m J Ther.</a:t>
            </a:r>
            <a:r>
              <a:rPr lang="en-US" sz="1400" dirty="0"/>
              <a:t> 2013 Jul-Aug;20(4):316-21. </a:t>
            </a:r>
            <a:r>
              <a:rPr lang="en-US" sz="1400" dirty="0" err="1"/>
              <a:t>doi</a:t>
            </a:r>
            <a:r>
              <a:rPr lang="en-US" sz="1400" dirty="0"/>
              <a:t>: 10.1097/MJT.0b013e31827ab599</a:t>
            </a:r>
            <a:endParaRPr sz="14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endParaRPr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endParaRPr dirty="0"/>
          </a:p>
          <a:p>
            <a:pPr marL="0" lvl="0" indent="0" algn="l" rtl="0">
              <a:spcBef>
                <a:spcPts val="1000"/>
              </a:spcBef>
              <a:spcAft>
                <a:spcPts val="100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8"/>
          <p:cNvSpPr txBox="1">
            <a:spLocks noGrp="1"/>
          </p:cNvSpPr>
          <p:nvPr>
            <p:ph type="title"/>
          </p:nvPr>
        </p:nvSpPr>
        <p:spPr>
          <a:xfrm>
            <a:off x="545825" y="468776"/>
            <a:ext cx="10363200" cy="14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br>
              <a:rPr lang="en-US" sz="2200" dirty="0">
                <a:latin typeface="+mn-lt"/>
              </a:rPr>
            </a:br>
            <a:br>
              <a:rPr lang="en-US" sz="2200" dirty="0">
                <a:latin typeface="+mn-lt"/>
              </a:rPr>
            </a:br>
            <a:r>
              <a:rPr lang="en-US" sz="2700" dirty="0">
                <a:latin typeface="+mn-lt"/>
              </a:rPr>
              <a:t>Evidence Based nonpharmacologic strategies for comprehensive pain care: the consortium pain task force white paper</a:t>
            </a:r>
            <a:endParaRPr sz="3100" dirty="0">
              <a:latin typeface="+mn-l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/>
              <a:t>Tick H, Nielsen A, Pelletier KR, et al. Evidence-based nonpharmacologic strategies for comprehensive pain care: the consortium pain task force white paper. Explore (NY). 2018;14(3):177–211.</a:t>
            </a:r>
            <a:endParaRPr sz="12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endParaRPr dirty="0"/>
          </a:p>
        </p:txBody>
      </p:sp>
      <p:sp>
        <p:nvSpPr>
          <p:cNvPr id="202" name="Google Shape;202;p8"/>
          <p:cNvSpPr txBox="1">
            <a:spLocks noGrp="1"/>
          </p:cNvSpPr>
          <p:nvPr>
            <p:ph type="body" idx="1"/>
          </p:nvPr>
        </p:nvSpPr>
        <p:spPr>
          <a:xfrm>
            <a:off x="713223" y="2241917"/>
            <a:ext cx="10363200" cy="3649200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Acupuncture-8-15 treatments over 10-12 weeks lasted 12 months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Spinal and joint manipulation -some safety issues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Massage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 err="1"/>
              <a:t>Mindfulness,meditation</a:t>
            </a:r>
            <a:r>
              <a:rPr lang="en-US" sz="2000" dirty="0"/>
              <a:t> and relaxation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Yoga and Tai Chi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1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g75b9768aea_0_2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Nutrition and Pain</a:t>
            </a:r>
            <a:endParaRPr sz="2400" dirty="0">
              <a:latin typeface="+mn-l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endParaRPr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200" dirty="0">
              <a:solidFill>
                <a:schemeClr val="dk1"/>
              </a:solidFill>
            </a:endParaRPr>
          </a:p>
        </p:txBody>
      </p:sp>
      <p:sp>
        <p:nvSpPr>
          <p:cNvPr id="208" name="Google Shape;208;g75b9768aea_0_24"/>
          <p:cNvSpPr txBox="1">
            <a:spLocks noGrp="1"/>
          </p:cNvSpPr>
          <p:nvPr>
            <p:ph type="body" idx="1"/>
          </p:nvPr>
        </p:nvSpPr>
        <p:spPr>
          <a:xfrm>
            <a:off x="609600" y="1683691"/>
            <a:ext cx="10363200" cy="3649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Anti-inflammatory Diet (non-starchy vegetables, fruits, legumes, nuts ,whole grains , low animal protein)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Curcuminoids-turmeric and ginger=NSAIDS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Micronutrient deficiency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     Vitamin D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     Magnesium 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     Omega-3 (not 6) fatty acids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     PPI’s</a:t>
            </a:r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1400" dirty="0"/>
              <a:t>Tick H, Nielsen A, Pelletier KR, et al. Evidence-based nonpharmacologic strategies for comprehensive pain care: the consortium pain task force white paper. Explore (NY). 2018;14(3):177–211.</a:t>
            </a:r>
            <a:endParaRPr sz="72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Barre Buprenorphine Program</a:t>
            </a:r>
            <a:endParaRPr sz="2400" dirty="0">
              <a:latin typeface="+mn-lt"/>
            </a:endParaRPr>
          </a:p>
        </p:txBody>
      </p:sp>
      <p:sp>
        <p:nvSpPr>
          <p:cNvPr id="214" name="Google Shape;214;p6"/>
          <p:cNvSpPr txBox="1">
            <a:spLocks noGrp="1"/>
          </p:cNvSpPr>
          <p:nvPr>
            <p:ph type="body" idx="1"/>
          </p:nvPr>
        </p:nvSpPr>
        <p:spPr>
          <a:xfrm>
            <a:off x="609600" y="1759009"/>
            <a:ext cx="10363200" cy="3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Patients are identified for the Suboxone Program (self, or provider)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History taken by provider at intake:  substance(s), dose, frequency, method.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History of Suboxone use or prior suboxone program: can start directly on suboxone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Suboxone Naïve:  must be in withdrawal to start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Barre Phases of Treatment</a:t>
            </a:r>
            <a:endParaRPr sz="2400" dirty="0">
              <a:latin typeface="+mn-lt"/>
            </a:endParaRPr>
          </a:p>
        </p:txBody>
      </p:sp>
      <p:sp>
        <p:nvSpPr>
          <p:cNvPr id="220" name="Google Shape;220;p7"/>
          <p:cNvSpPr txBox="1">
            <a:spLocks noGrp="1"/>
          </p:cNvSpPr>
          <p:nvPr>
            <p:ph type="body" idx="1"/>
          </p:nvPr>
        </p:nvSpPr>
        <p:spPr>
          <a:xfrm>
            <a:off x="609600" y="1059054"/>
            <a:ext cx="10363200" cy="364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b="1" dirty="0"/>
              <a:t>Stabilization</a:t>
            </a:r>
            <a:r>
              <a:rPr lang="en-US" sz="2000" dirty="0"/>
              <a:t>:  0-3 months of treatment</a:t>
            </a:r>
            <a:endParaRPr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b="1" dirty="0"/>
              <a:t>Active:  </a:t>
            </a:r>
            <a:r>
              <a:rPr lang="en-US" sz="2000" dirty="0"/>
              <a:t>4-7 months of treatment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b="1" dirty="0"/>
              <a:t>Maintenance:  </a:t>
            </a:r>
            <a:r>
              <a:rPr lang="en-US" sz="2000" dirty="0"/>
              <a:t>&gt;7 months of treatment</a:t>
            </a:r>
            <a:endParaRPr sz="20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" name="Google Shape;225;g7a9a820fcf_0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7776" y="766119"/>
            <a:ext cx="11170508" cy="591888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" name="Google Shape;230;g7a9a820fcf_0_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9749" y="561511"/>
            <a:ext cx="10503075" cy="5907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" name="Google Shape;235;g7a9a820fcf_0_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14400" y="650277"/>
            <a:ext cx="10363200" cy="58293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0" name="Google Shape;240;g7a9a820fcf_0_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25675" y="550936"/>
            <a:ext cx="10540650" cy="59291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1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Benedict Case Problem</a:t>
            </a:r>
            <a:endParaRPr sz="2400" dirty="0">
              <a:latin typeface="+mn-lt"/>
            </a:endParaRPr>
          </a:p>
        </p:txBody>
      </p:sp>
      <p:sp>
        <p:nvSpPr>
          <p:cNvPr id="246" name="Google Shape;246;p10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2018-Physician with 52 patients on chronic opioid therapy for pain retired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Half on &gt;100 morphine </a:t>
            </a:r>
            <a:r>
              <a:rPr lang="en-US" sz="2000" dirty="0" err="1"/>
              <a:t>mEq</a:t>
            </a:r>
            <a:r>
              <a:rPr lang="en-US" sz="2000" dirty="0"/>
              <a:t> ( one on 936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Many had transferred from pain clinics and had been cared for &gt;20 years by the retiring physicia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He  agreed to try to start tapering them to at least &lt;/= 90 </a:t>
            </a:r>
            <a:r>
              <a:rPr lang="en-US" sz="2000" dirty="0" err="1"/>
              <a:t>mEq</a:t>
            </a:r>
            <a:r>
              <a:rPr lang="en-US" sz="2000" dirty="0"/>
              <a:t> dose of morphine</a:t>
            </a: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6FA1C7-C0EB-4C40-BAC6-DC93592B6438}"/>
              </a:ext>
            </a:extLst>
          </p:cNvPr>
          <p:cNvSpPr txBox="1">
            <a:spLocks/>
          </p:cNvSpPr>
          <p:nvPr/>
        </p:nvSpPr>
        <p:spPr>
          <a:xfrm>
            <a:off x="1561070" y="1076013"/>
            <a:ext cx="9144000" cy="772938"/>
          </a:xfrm>
          <a:prstGeom prst="rect">
            <a:avLst/>
          </a:prstGeom>
        </p:spPr>
        <p:txBody>
          <a:bodyPr vert="horz" lIns="228600" tIns="114300" rIns="228600" bIns="11430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 spc="-150">
                <a:solidFill>
                  <a:schemeClr val="accent3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algn="ctr" defTabSz="2286000">
              <a:buClrTx/>
              <a:defRPr/>
            </a:pPr>
            <a:r>
              <a:rPr lang="en-US" sz="3500" b="0" spc="0" dirty="0">
                <a:solidFill>
                  <a:srgbClr val="0096D3"/>
                </a:solidFill>
              </a:rPr>
              <a:t>Setting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6D1C2-690D-C64D-B684-380823AED748}"/>
              </a:ext>
            </a:extLst>
          </p:cNvPr>
          <p:cNvSpPr txBox="1"/>
          <p:nvPr/>
        </p:nvSpPr>
        <p:spPr>
          <a:xfrm>
            <a:off x="2235192" y="1961769"/>
            <a:ext cx="8016655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50" u="sng" dirty="0">
                <a:latin typeface="Trebuchet MS" panose="020B0703020202090204" pitchFamily="34" charset="0"/>
              </a:rPr>
              <a:t>Benedict Family Medicine</a:t>
            </a:r>
          </a:p>
          <a:p>
            <a:r>
              <a:rPr lang="en-US" sz="1750" dirty="0">
                <a:latin typeface="Trebuchet MS" panose="020B0703020202090204" pitchFamily="34" charset="0"/>
              </a:rPr>
              <a:t>	Academic family medicine office with 10 physicians and an NP/BH 	Located UMass Memorial Medical Center in Worcester MA 	17,000 visits/year. </a:t>
            </a:r>
          </a:p>
          <a:p>
            <a:endParaRPr lang="en-US" sz="1750" dirty="0">
              <a:latin typeface="Trebuchet MS" panose="020B0703020202090204" pitchFamily="34" charset="0"/>
            </a:endParaRPr>
          </a:p>
          <a:p>
            <a:r>
              <a:rPr lang="en-US" sz="1750" u="sng" dirty="0">
                <a:latin typeface="Trebuchet MS" panose="020B0703020202090204" pitchFamily="34" charset="0"/>
              </a:rPr>
              <a:t>Barre Family Health Center </a:t>
            </a:r>
          </a:p>
          <a:p>
            <a:r>
              <a:rPr lang="en-US" sz="1750" dirty="0">
                <a:latin typeface="Trebuchet MS" panose="020B0703020202090204" pitchFamily="34" charset="0"/>
              </a:rPr>
              <a:t>	One of three residency sites of the UMass Family Medicine </a:t>
            </a:r>
            <a:r>
              <a:rPr lang="en-US" sz="1750" dirty="0" err="1">
                <a:latin typeface="Trebuchet MS" panose="020B0703020202090204" pitchFamily="34" charset="0"/>
              </a:rPr>
              <a:t>Resideny</a:t>
            </a:r>
            <a:endParaRPr lang="en-US" sz="1750" dirty="0">
              <a:latin typeface="Trebuchet MS" panose="020B0703020202090204" pitchFamily="34" charset="0"/>
            </a:endParaRPr>
          </a:p>
          <a:p>
            <a:r>
              <a:rPr lang="en-US" sz="1750" dirty="0">
                <a:latin typeface="Trebuchet MS" panose="020B0703020202090204" pitchFamily="34" charset="0"/>
              </a:rPr>
              <a:t>	12 residents, *** physicians, and NP’s/PA/BH</a:t>
            </a:r>
          </a:p>
          <a:p>
            <a:r>
              <a:rPr lang="en-US" sz="1750" dirty="0">
                <a:latin typeface="Trebuchet MS" panose="020B0703020202090204" pitchFamily="34" charset="0"/>
              </a:rPr>
              <a:t>	40,000 visits/year</a:t>
            </a:r>
          </a:p>
        </p:txBody>
      </p:sp>
    </p:spTree>
    <p:extLst>
      <p:ext uri="{BB962C8B-B14F-4D97-AF65-F5344CB8AC3E}">
        <p14:creationId xmlns:p14="http://schemas.microsoft.com/office/powerpoint/2010/main" val="27666352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1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Benedict Opioid Treatment Goals</a:t>
            </a:r>
            <a:endParaRPr sz="2400" dirty="0">
              <a:latin typeface="+mn-lt"/>
            </a:endParaRPr>
          </a:p>
        </p:txBody>
      </p:sp>
      <p:sp>
        <p:nvSpPr>
          <p:cNvPr id="252" name="Google Shape;252;p11"/>
          <p:cNvSpPr txBox="1">
            <a:spLocks noGrp="1"/>
          </p:cNvSpPr>
          <p:nvPr>
            <p:ph type="body" idx="1"/>
          </p:nvPr>
        </p:nvSpPr>
        <p:spPr>
          <a:xfrm>
            <a:off x="726989" y="1739127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Chronic pain syndrome </a:t>
            </a:r>
            <a:r>
              <a:rPr lang="en-US" sz="2000" dirty="0">
                <a:solidFill>
                  <a:srgbClr val="FF0000"/>
                </a:solidFill>
              </a:rPr>
              <a:t>diagnosis</a:t>
            </a:r>
            <a:r>
              <a:rPr lang="en-US" sz="2000" dirty="0"/>
              <a:t> will be documented.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The maximum opioid daily dose is established at </a:t>
            </a:r>
            <a:r>
              <a:rPr lang="en-US" sz="2000" dirty="0">
                <a:solidFill>
                  <a:srgbClr val="FF0000"/>
                </a:solidFill>
              </a:rPr>
              <a:t>60 MME per day</a:t>
            </a:r>
            <a:r>
              <a:rPr lang="en-US" sz="2000" dirty="0"/>
              <a:t>.</a:t>
            </a:r>
            <a:endParaRPr sz="2000" dirty="0"/>
          </a:p>
          <a:p>
            <a:pPr marL="91440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lphaLcPeriod"/>
            </a:pPr>
            <a:r>
              <a:rPr lang="en-US" sz="2000" dirty="0"/>
              <a:t> Explanation of high dose therapy will be documented in the record.</a:t>
            </a:r>
            <a:endParaRPr sz="2000" dirty="0"/>
          </a:p>
          <a:p>
            <a:pPr marL="914400" lvl="1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lphaLcPeriod"/>
            </a:pPr>
            <a:r>
              <a:rPr lang="en-US" sz="2000" dirty="0"/>
              <a:t> High dose patients will have pain management consultation and/or comprehensive assessment and institution of new non-opioid therapy every 12 months.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>
                <a:solidFill>
                  <a:srgbClr val="FF0000"/>
                </a:solidFill>
              </a:rPr>
              <a:t>Urine drug screening (UDS)</a:t>
            </a:r>
            <a:r>
              <a:rPr lang="en-US" sz="2000" dirty="0"/>
              <a:t> will be performed on all patients at least once a year 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 </a:t>
            </a:r>
            <a:r>
              <a:rPr lang="en-US" sz="2000" dirty="0">
                <a:solidFill>
                  <a:srgbClr val="FF0000"/>
                </a:solidFill>
              </a:rPr>
              <a:t>Patient agreement form </a:t>
            </a:r>
            <a:r>
              <a:rPr lang="en-US" sz="2000" dirty="0"/>
              <a:t>will be documented for all patients.</a:t>
            </a: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2"/>
          <p:cNvSpPr txBox="1">
            <a:spLocks noGrp="1"/>
          </p:cNvSpPr>
          <p:nvPr>
            <p:ph type="title"/>
          </p:nvPr>
        </p:nvSpPr>
        <p:spPr>
          <a:xfrm>
            <a:off x="462970" y="101048"/>
            <a:ext cx="10363200" cy="14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Benedict Database Structure</a:t>
            </a:r>
            <a:endParaRPr sz="2400" dirty="0">
              <a:latin typeface="+mn-lt"/>
            </a:endParaRPr>
          </a:p>
        </p:txBody>
      </p:sp>
      <p:sp>
        <p:nvSpPr>
          <p:cNvPr id="258" name="Google Shape;258;p12"/>
          <p:cNvSpPr txBox="1">
            <a:spLocks noGrp="1"/>
          </p:cNvSpPr>
          <p:nvPr>
            <p:ph type="body" idx="1"/>
          </p:nvPr>
        </p:nvSpPr>
        <p:spPr>
          <a:xfrm>
            <a:off x="899985" y="1170717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400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   </a:t>
            </a:r>
            <a:endParaRPr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Identifying info 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PCP name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 Initial dose levels and, when available, goals set by the departing physician. 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Opioid MME doses – July 2018 - January 2019 - July 2019.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 Number of UDS’s during the 12 months.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Controlled substance agreement (CSA) completion dates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Dual therapy with benzodiazepine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Naloxone prescription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Complications  related to opioid use.</a:t>
            </a:r>
            <a:endParaRPr sz="2000" dirty="0"/>
          </a:p>
          <a:p>
            <a:pPr marL="45720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 Adjunctive therapies.</a:t>
            </a:r>
            <a:endParaRPr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g65b9f9983c_0_141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latin typeface="+mn-lt"/>
              </a:rPr>
              <a:t>Transfer Panel of 485 patients</a:t>
            </a:r>
            <a:endParaRPr sz="2400" dirty="0">
              <a:latin typeface="+mn-lt"/>
            </a:endParaRPr>
          </a:p>
        </p:txBody>
      </p:sp>
      <p:sp>
        <p:nvSpPr>
          <p:cNvPr id="264" name="Google Shape;264;g65b9f9983c_0_1417"/>
          <p:cNvSpPr txBox="1">
            <a:spLocks noGrp="1"/>
          </p:cNvSpPr>
          <p:nvPr>
            <p:ph type="body" idx="1"/>
          </p:nvPr>
        </p:nvSpPr>
        <p:spPr>
          <a:xfrm>
            <a:off x="838200" y="1331355"/>
            <a:ext cx="10515600" cy="4351338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000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>
                <a:solidFill>
                  <a:schemeClr val="dk1"/>
                </a:solidFill>
              </a:rPr>
              <a:t>           </a:t>
            </a:r>
            <a:r>
              <a:rPr lang="en-US" sz="2000" dirty="0"/>
              <a:t>52 patients using chronic Schedule II opioids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           25 patients on high dose opioids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                Dose range 112 – 936 MME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                Dose average July 2018  269 MME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           18 patients had set a plan to attempt to reduce use of opioids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             3 patients transferred out of practice</a:t>
            </a: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100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g75b9768aea_0_3"/>
          <p:cNvSpPr txBox="1">
            <a:spLocks noGrp="1"/>
          </p:cNvSpPr>
          <p:nvPr>
            <p:ph type="title"/>
          </p:nvPr>
        </p:nvSpPr>
        <p:spPr>
          <a:xfrm>
            <a:off x="1054300" y="573301"/>
            <a:ext cx="10363200" cy="145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latin typeface="+mn-lt"/>
              </a:rPr>
              <a:t>12 Month Follow Up on 22 High Dose Opiate Patients</a:t>
            </a:r>
            <a:endParaRPr sz="2400" dirty="0">
              <a:latin typeface="+mn-lt"/>
            </a:endParaRPr>
          </a:p>
        </p:txBody>
      </p:sp>
      <p:sp>
        <p:nvSpPr>
          <p:cNvPr id="270" name="Google Shape;270;g75b9768aea_0_3"/>
          <p:cNvSpPr txBox="1">
            <a:spLocks noGrp="1"/>
          </p:cNvSpPr>
          <p:nvPr>
            <p:ph type="body" idx="1"/>
          </p:nvPr>
        </p:nvSpPr>
        <p:spPr>
          <a:xfrm>
            <a:off x="606785" y="2745300"/>
            <a:ext cx="10363200" cy="41127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000" b="1" dirty="0">
              <a:solidFill>
                <a:schemeClr val="dk1"/>
              </a:solidFill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>
                <a:solidFill>
                  <a:schemeClr val="dk1"/>
                </a:solidFill>
              </a:rPr>
              <a:t>       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>
                <a:solidFill>
                  <a:schemeClr val="dk1"/>
                </a:solidFill>
              </a:rPr>
              <a:t>        </a:t>
            </a:r>
            <a:r>
              <a:rPr lang="en-US" sz="2000" dirty="0"/>
              <a:t>2 patients reduced dose to &lt; 100 MME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2 patients transitioned to Buprenorphine therapy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      (excellent pain management - suspected opioid hyperalgesia)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15 (68%) had DOA screening in past 12 months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11 (50%) documented advice to obtain naloxone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11 (50%) have current CSA in chart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18 (82%) have documented adjunctive therapies</a:t>
            </a:r>
            <a:endParaRPr sz="2000" dirty="0"/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000" dirty="0"/>
              <a:t>3 patients receive dual therapy with a benzodiazepine</a:t>
            </a:r>
            <a:endParaRPr sz="2000"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/>
              <a:t>                     </a:t>
            </a:r>
            <a:endParaRPr dirty="0"/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dirty="0"/>
              <a:t> </a:t>
            </a:r>
            <a:endParaRPr dirty="0"/>
          </a:p>
          <a:p>
            <a:pPr marL="0" lvl="0" indent="0" algn="l" rtl="0">
              <a:spcBef>
                <a:spcPts val="0"/>
              </a:spcBef>
              <a:spcAft>
                <a:spcPts val="100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5" name="Google Shape;275;g65b9f9983c_0_143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03189" y="568410"/>
            <a:ext cx="9494038" cy="59201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E3F22BB-8D94-41CA-86A2-90830D622A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981200" y="1568329"/>
            <a:ext cx="4038600" cy="4267106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N= 25 on high dose opioid</a:t>
            </a:r>
          </a:p>
          <a:p>
            <a:pPr marL="457188" lvl="1" indent="0">
              <a:buNone/>
            </a:pPr>
            <a:endParaRPr lang="en-US" sz="2000" dirty="0"/>
          </a:p>
          <a:p>
            <a:pPr marL="457188" lvl="1" indent="0">
              <a:buNone/>
            </a:pPr>
            <a:r>
              <a:rPr lang="en-US" sz="2000" dirty="0"/>
              <a:t>10 reduced dose &gt;10%</a:t>
            </a:r>
          </a:p>
          <a:p>
            <a:pPr marL="457188" lvl="1" indent="0">
              <a:buNone/>
            </a:pPr>
            <a:r>
              <a:rPr lang="en-US" sz="2000" dirty="0"/>
              <a:t>2 reduced to &lt;100 MME</a:t>
            </a:r>
          </a:p>
          <a:p>
            <a:pPr marL="457188" lvl="1" indent="0">
              <a:buNone/>
            </a:pPr>
            <a:r>
              <a:rPr lang="en-US" sz="2000" dirty="0"/>
              <a:t>3 maintain same dose</a:t>
            </a:r>
          </a:p>
          <a:p>
            <a:pPr marL="457188" lvl="1" indent="0">
              <a:buNone/>
            </a:pPr>
            <a:r>
              <a:rPr lang="en-US" sz="2000" dirty="0"/>
              <a:t>3 increased dose</a:t>
            </a:r>
          </a:p>
          <a:p>
            <a:pPr marL="457188" lvl="1" indent="0">
              <a:buNone/>
            </a:pPr>
            <a:r>
              <a:rPr lang="en-US" sz="2000" dirty="0"/>
              <a:t>2 </a:t>
            </a:r>
            <a:r>
              <a:rPr lang="en-US" sz="2000" dirty="0">
                <a:sym typeface="Wingdings" panose="05000000000000000000" pitchFamily="2" charset="2"/>
              </a:rPr>
              <a:t> buprenorphine</a:t>
            </a:r>
          </a:p>
          <a:p>
            <a:pPr marL="457188" lvl="1" indent="0">
              <a:buNone/>
            </a:pPr>
            <a:r>
              <a:rPr lang="en-US" sz="2000" dirty="0">
                <a:sym typeface="Wingdings" panose="05000000000000000000" pitchFamily="2" charset="2"/>
              </a:rPr>
              <a:t>3 transferred out (one died)</a:t>
            </a:r>
          </a:p>
          <a:p>
            <a:pPr marL="457188" lvl="1" indent="0">
              <a:buNone/>
            </a:pP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ACB298-AF49-4748-90A2-86186F29B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5749" y="1568329"/>
            <a:ext cx="4038600" cy="4267107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Total MME for panel:</a:t>
            </a:r>
          </a:p>
          <a:p>
            <a:r>
              <a:rPr lang="en-US" sz="2000" dirty="0"/>
              <a:t>Initial	5385</a:t>
            </a:r>
          </a:p>
          <a:p>
            <a:r>
              <a:rPr lang="en-US" sz="2000" dirty="0"/>
              <a:t>Jan ’19	4672	(87%)</a:t>
            </a:r>
          </a:p>
          <a:p>
            <a:r>
              <a:rPr lang="en-US" sz="2000" dirty="0"/>
              <a:t>Jul ’19	4541	(84%)</a:t>
            </a:r>
          </a:p>
          <a:p>
            <a:r>
              <a:rPr lang="en-US" sz="2000" dirty="0"/>
              <a:t>Subset with taper: 75% of initial dose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7421F79-AB89-45DF-8E61-C4ABBA624E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US" sz="2400" dirty="0">
                <a:latin typeface="+mn-lt"/>
              </a:rPr>
              <a:t>Benedict Data -  12 month follow up</a:t>
            </a:r>
          </a:p>
        </p:txBody>
      </p:sp>
    </p:spTree>
    <p:extLst>
      <p:ext uri="{BB962C8B-B14F-4D97-AF65-F5344CB8AC3E}">
        <p14:creationId xmlns:p14="http://schemas.microsoft.com/office/powerpoint/2010/main" val="18295534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g7a9a820fcf_0_28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latin typeface="+mn-lt"/>
              </a:rPr>
              <a:t>EPIC EMR Best Practices</a:t>
            </a:r>
            <a:endParaRPr sz="2400" dirty="0">
              <a:latin typeface="+mn-lt"/>
            </a:endParaRPr>
          </a:p>
        </p:txBody>
      </p:sp>
      <p:sp>
        <p:nvSpPr>
          <p:cNvPr id="287" name="Google Shape;287;g7a9a820fcf_0_28"/>
          <p:cNvSpPr txBox="1">
            <a:spLocks noGrp="1"/>
          </p:cNvSpPr>
          <p:nvPr>
            <p:ph type="body" idx="1"/>
          </p:nvPr>
        </p:nvSpPr>
        <p:spPr>
          <a:xfrm>
            <a:off x="838200" y="914400"/>
            <a:ext cx="10389973" cy="4372877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Embedded PMP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Controlled Substance Agreement reminder when writing prescriptions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Formatted summary in EMR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1000"/>
              </a:spcAft>
              <a:buNone/>
            </a:pPr>
            <a:r>
              <a:rPr lang="en-US" sz="2000" dirty="0"/>
              <a:t>Templated notes for OBOT team and provider</a:t>
            </a:r>
            <a:endParaRPr sz="2000" dirty="0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" name="Google Shape;292;g6c0d21fccd_1_20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Screen shot of epic </a:t>
            </a:r>
            <a:endParaRPr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8280516-CBDD-2B4E-B117-9470CB0B1242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-311150" y="-174625"/>
            <a:ext cx="12503150" cy="70326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g65b9f9983c_0_1422"/>
          <p:cNvSpPr txBox="1">
            <a:spLocks noGrp="1"/>
          </p:cNvSpPr>
          <p:nvPr>
            <p:ph type="title"/>
          </p:nvPr>
        </p:nvSpPr>
        <p:spPr>
          <a:xfrm>
            <a:off x="806373" y="615611"/>
            <a:ext cx="10363200" cy="145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latin typeface="+mn-lt"/>
              </a:rPr>
              <a:t>Conclusions</a:t>
            </a:r>
            <a:endParaRPr sz="2400" dirty="0">
              <a:latin typeface="+mn-lt"/>
            </a:endParaRPr>
          </a:p>
        </p:txBody>
      </p:sp>
      <p:sp>
        <p:nvSpPr>
          <p:cNvPr id="299" name="Google Shape;299;g65b9f9983c_0_1422"/>
          <p:cNvSpPr txBox="1">
            <a:spLocks noGrp="1"/>
          </p:cNvSpPr>
          <p:nvPr>
            <p:ph type="body" idx="1"/>
          </p:nvPr>
        </p:nvSpPr>
        <p:spPr>
          <a:xfrm>
            <a:off x="806373" y="996470"/>
            <a:ext cx="10515600" cy="4351338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Developing a standardized approach to chronic pain and addiction is possible (and improved buy in)</a:t>
            </a:r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The EMR can help us with these patients</a:t>
            </a:r>
          </a:p>
          <a:p>
            <a:pPr marL="0" lvl="0" indent="0" algn="l" rtl="0">
              <a:spcBef>
                <a:spcPts val="1000"/>
              </a:spcBef>
              <a:spcAft>
                <a:spcPts val="1000"/>
              </a:spcAft>
              <a:buNone/>
            </a:pPr>
            <a:r>
              <a:rPr lang="en-US" sz="2000" dirty="0"/>
              <a:t>Patients need our care and expertise in treating chronic pain and addiction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13"/>
          <p:cNvSpPr txBox="1">
            <a:spLocks noGrp="1"/>
          </p:cNvSpPr>
          <p:nvPr>
            <p:ph type="title"/>
          </p:nvPr>
        </p:nvSpPr>
        <p:spPr>
          <a:xfrm>
            <a:off x="673300" y="1"/>
            <a:ext cx="10363200" cy="14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Questions and Your Insights</a:t>
            </a:r>
            <a:endParaRPr sz="2400" dirty="0">
              <a:latin typeface="+mn-lt"/>
            </a:endParaRPr>
          </a:p>
        </p:txBody>
      </p:sp>
      <p:sp>
        <p:nvSpPr>
          <p:cNvPr id="305" name="Google Shape;305;p1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/>
          </a:p>
        </p:txBody>
      </p:sp>
      <p:pic>
        <p:nvPicPr>
          <p:cNvPr id="306" name="Google Shape;306;p1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763460" y="1032082"/>
            <a:ext cx="9682253" cy="49940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1"/>
          <p:cNvSpPr txBox="1">
            <a:spLocks noGrp="1"/>
          </p:cNvSpPr>
          <p:nvPr>
            <p:ph type="ctrTitle"/>
          </p:nvPr>
        </p:nvSpPr>
        <p:spPr>
          <a:xfrm>
            <a:off x="3658631" y="891279"/>
            <a:ext cx="7619100" cy="242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Calibri"/>
              <a:buNone/>
            </a:pPr>
            <a:r>
              <a:rPr lang="en-US" sz="4400" dirty="0">
                <a:latin typeface="+mn-lt"/>
              </a:rPr>
              <a:t>TAKING THE PAIN OUT OF</a:t>
            </a:r>
            <a:br>
              <a:rPr lang="en-US" sz="4400" dirty="0">
                <a:latin typeface="+mn-lt"/>
              </a:rPr>
            </a:br>
            <a:r>
              <a:rPr lang="en-US" sz="4400" dirty="0">
                <a:latin typeface="+mn-lt"/>
              </a:rPr>
              <a:t>OPIATE REDUCTION </a:t>
            </a:r>
            <a:endParaRPr sz="4400" dirty="0">
              <a:latin typeface="+mn-lt"/>
            </a:endParaRPr>
          </a:p>
        </p:txBody>
      </p:sp>
      <p:sp>
        <p:nvSpPr>
          <p:cNvPr id="151" name="Google Shape;151;p1"/>
          <p:cNvSpPr txBox="1">
            <a:spLocks noGrp="1"/>
          </p:cNvSpPr>
          <p:nvPr>
            <p:ph type="subTitle" idx="1"/>
          </p:nvPr>
        </p:nvSpPr>
        <p:spPr>
          <a:xfrm>
            <a:off x="3658631" y="3312880"/>
            <a:ext cx="7619100" cy="2533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r>
              <a:rPr lang="en-US" sz="1800" dirty="0">
                <a:solidFill>
                  <a:schemeClr val="tx1"/>
                </a:solidFill>
              </a:rPr>
              <a:t>CYNTHIA JEREMIAH MD</a:t>
            </a:r>
            <a:endParaRPr sz="1800" dirty="0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r>
              <a:rPr lang="en-US" sz="1800" dirty="0">
                <a:solidFill>
                  <a:schemeClr val="tx1"/>
                </a:solidFill>
              </a:rPr>
              <a:t>MARY LINDHOLM MD</a:t>
            </a:r>
            <a:endParaRPr sz="1800" dirty="0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r>
              <a:rPr lang="en-US" sz="1800" dirty="0">
                <a:solidFill>
                  <a:schemeClr val="tx1"/>
                </a:solidFill>
              </a:rPr>
              <a:t>Department of Family Medicine and Community Health</a:t>
            </a:r>
            <a:endParaRPr sz="1800" dirty="0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r>
              <a:rPr lang="en-US" sz="1800" dirty="0">
                <a:solidFill>
                  <a:schemeClr val="tx1"/>
                </a:solidFill>
              </a:rPr>
              <a:t>University of Massachusetts Medical School</a:t>
            </a:r>
            <a:endParaRPr sz="1800" dirty="0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r>
              <a:rPr lang="en-US" sz="1800" dirty="0">
                <a:solidFill>
                  <a:schemeClr val="tx1"/>
                </a:solidFill>
              </a:rPr>
              <a:t>UMass Memorial Health Care</a:t>
            </a:r>
            <a:endParaRPr sz="1800" dirty="0">
              <a:solidFill>
                <a:schemeClr val="tx1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r>
              <a:rPr lang="en-US" sz="1800" dirty="0">
                <a:solidFill>
                  <a:schemeClr val="tx1"/>
                </a:solidFill>
              </a:rPr>
              <a:t>Worcester Massachusetts</a:t>
            </a:r>
            <a:endParaRPr sz="1800" dirty="0">
              <a:solidFill>
                <a:schemeClr val="tx1"/>
              </a:solidFill>
            </a:endParaRPr>
          </a:p>
          <a:p>
            <a:pPr marL="0" lvl="0" indent="0" algn="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665"/>
              <a:buNone/>
            </a:pPr>
            <a:endParaRPr sz="1600" dirty="0"/>
          </a:p>
        </p:txBody>
      </p:sp>
      <p:pic>
        <p:nvPicPr>
          <p:cNvPr id="152" name="Google Shape;152;p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0625" y="203375"/>
            <a:ext cx="3353830" cy="2515373"/>
          </a:xfrm>
          <a:prstGeom prst="rect">
            <a:avLst/>
          </a:prstGeom>
          <a:noFill/>
          <a:ln>
            <a:noFill/>
          </a:ln>
        </p:spPr>
      </p:pic>
      <p:sp>
        <p:nvSpPr>
          <p:cNvPr id="153" name="Google Shape;153;p1"/>
          <p:cNvSpPr txBox="1"/>
          <p:nvPr/>
        </p:nvSpPr>
        <p:spPr>
          <a:xfrm>
            <a:off x="1511550" y="5970225"/>
            <a:ext cx="7338000" cy="8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" name="Google Shape;154;p1"/>
          <p:cNvSpPr txBox="1"/>
          <p:nvPr/>
        </p:nvSpPr>
        <p:spPr>
          <a:xfrm>
            <a:off x="11249250" y="5681950"/>
            <a:ext cx="7338000" cy="85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BBB9EA1-EB8A-314D-B8A4-413B3CC44120}"/>
              </a:ext>
            </a:extLst>
          </p:cNvPr>
          <p:cNvSpPr txBox="1"/>
          <p:nvPr/>
        </p:nvSpPr>
        <p:spPr>
          <a:xfrm>
            <a:off x="2510423" y="3165633"/>
            <a:ext cx="724835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50" dirty="0">
                <a:latin typeface="Trebuchet MS" panose="020B0703020202090204" pitchFamily="34" charset="0"/>
              </a:rPr>
              <a:t>Please evaluate this presentation using the conference mobile app! Simply click on the "clipboard" icon       on the presentation page.</a:t>
            </a:r>
          </a:p>
        </p:txBody>
      </p:sp>
      <p:pic>
        <p:nvPicPr>
          <p:cNvPr id="5" name="Picture 4" descr="Clipboard.jpg">
            <a:extLst>
              <a:ext uri="{FF2B5EF4-FFF2-40B4-BE49-F238E27FC236}">
                <a16:creationId xmlns:a16="http://schemas.microsoft.com/office/drawing/2014/main" id="{27F559FE-A73D-0646-8200-42DFBEEF2C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5618" y="3550354"/>
            <a:ext cx="331245" cy="438013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4E54E01-0A54-B843-95F4-9BE6DF3E88D4}"/>
              </a:ext>
            </a:extLst>
          </p:cNvPr>
          <p:cNvSpPr txBox="1">
            <a:spLocks/>
          </p:cNvSpPr>
          <p:nvPr/>
        </p:nvSpPr>
        <p:spPr>
          <a:xfrm>
            <a:off x="1523999" y="2502204"/>
            <a:ext cx="9144003" cy="772938"/>
          </a:xfrm>
          <a:prstGeom prst="rect">
            <a:avLst/>
          </a:prstGeom>
        </p:spPr>
        <p:txBody>
          <a:bodyPr vert="horz" lIns="228600" tIns="114300" rIns="228600" bIns="11430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 spc="-150">
                <a:solidFill>
                  <a:schemeClr val="accent3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algn="ctr" defTabSz="2286000">
              <a:buClrTx/>
              <a:defRPr/>
            </a:pPr>
            <a:r>
              <a:rPr lang="en-US" sz="3500" b="0" spc="0" dirty="0">
                <a:solidFill>
                  <a:srgbClr val="0096D3"/>
                </a:solidFill>
              </a:rPr>
              <a:t>Evaluate</a:t>
            </a:r>
          </a:p>
        </p:txBody>
      </p:sp>
    </p:spTree>
    <p:extLst>
      <p:ext uri="{BB962C8B-B14F-4D97-AF65-F5344CB8AC3E}">
        <p14:creationId xmlns:p14="http://schemas.microsoft.com/office/powerpoint/2010/main" val="36185182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D57304-8586-7D40-9580-6E4F048406BB}"/>
              </a:ext>
            </a:extLst>
          </p:cNvPr>
          <p:cNvSpPr txBox="1">
            <a:spLocks/>
          </p:cNvSpPr>
          <p:nvPr/>
        </p:nvSpPr>
        <p:spPr>
          <a:xfrm>
            <a:off x="1524000" y="2662156"/>
            <a:ext cx="9144000" cy="772938"/>
          </a:xfrm>
          <a:prstGeom prst="rect">
            <a:avLst/>
          </a:prstGeom>
        </p:spPr>
        <p:txBody>
          <a:bodyPr vert="horz" lIns="228600" tIns="114300" rIns="228600" bIns="11430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 spc="-150">
                <a:solidFill>
                  <a:schemeClr val="accent3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algn="ctr" defTabSz="2286000">
              <a:buClrTx/>
              <a:defRPr/>
            </a:pPr>
            <a:r>
              <a:rPr lang="en-US" sz="3500" b="0" spc="0" dirty="0">
                <a:solidFill>
                  <a:srgbClr val="0096D3"/>
                </a:solidFill>
              </a:rPr>
              <a:t>Disclosur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4C270F0-3612-0F4A-9672-7719875E08AB}"/>
              </a:ext>
            </a:extLst>
          </p:cNvPr>
          <p:cNvSpPr txBox="1"/>
          <p:nvPr/>
        </p:nvSpPr>
        <p:spPr>
          <a:xfrm>
            <a:off x="1524000" y="3295956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68095">
              <a:buClrTx/>
            </a:pPr>
            <a:r>
              <a:rPr lang="en-US" sz="2400" kern="1200" dirty="0">
                <a:solidFill>
                  <a:prstClr val="black"/>
                </a:solidFill>
                <a:latin typeface="Trebuchet MS" panose="020B0703020202090204" pitchFamily="34" charset="0"/>
                <a:ea typeface="+mn-ea"/>
                <a:cs typeface="+mn-cs"/>
              </a:rPr>
              <a:t>None</a:t>
            </a:r>
          </a:p>
        </p:txBody>
      </p:sp>
    </p:spTree>
    <p:extLst>
      <p:ext uri="{BB962C8B-B14F-4D97-AF65-F5344CB8AC3E}">
        <p14:creationId xmlns:p14="http://schemas.microsoft.com/office/powerpoint/2010/main" val="2193719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3200" dirty="0">
                <a:latin typeface="+mn-lt"/>
              </a:rPr>
              <a:t>OBJECTIVES</a:t>
            </a:r>
            <a:endParaRPr sz="3200" dirty="0">
              <a:latin typeface="+mn-lt"/>
            </a:endParaRPr>
          </a:p>
        </p:txBody>
      </p:sp>
      <p:sp>
        <p:nvSpPr>
          <p:cNvPr id="166" name="Google Shape;166;p4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chemeClr val="dk1"/>
                </a:solidFill>
              </a:rPr>
              <a:t> </a:t>
            </a:r>
            <a:endParaRPr sz="1100" dirty="0">
              <a:solidFill>
                <a:schemeClr val="dk1"/>
              </a:solidFill>
            </a:endParaRPr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 sz="2400" dirty="0"/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Learn best practices of tapering high dose opiates vs. transitioning to Buprenorphine.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Managing comorbid conditions and/or acute pain in the context of an opioid taper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Understand the evidence behind use of adjunctive therapy to help with pain control</a:t>
            </a:r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Show some standards to best utilize the EMR in the safe prescribing of opiates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5"/>
          <p:cNvSpPr txBox="1">
            <a:spLocks noGrp="1"/>
          </p:cNvSpPr>
          <p:nvPr>
            <p:ph type="title" idx="4294967295"/>
          </p:nvPr>
        </p:nvSpPr>
        <p:spPr>
          <a:xfrm>
            <a:off x="0" y="609600"/>
            <a:ext cx="10363200" cy="14557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</a:pPr>
            <a:r>
              <a:rPr lang="en-US" sz="2400" dirty="0">
                <a:latin typeface="+mn-lt"/>
              </a:rPr>
              <a:t>Background/Literature</a:t>
            </a:r>
            <a:endParaRPr sz="2400" dirty="0">
              <a:latin typeface="+mn-lt"/>
            </a:endParaRPr>
          </a:p>
        </p:txBody>
      </p:sp>
      <p:sp>
        <p:nvSpPr>
          <p:cNvPr id="172" name="Google Shape;172;p5"/>
          <p:cNvSpPr txBox="1">
            <a:spLocks noGrp="1"/>
          </p:cNvSpPr>
          <p:nvPr>
            <p:ph type="body" idx="4294967295"/>
          </p:nvPr>
        </p:nvSpPr>
        <p:spPr>
          <a:xfrm>
            <a:off x="0" y="1746250"/>
            <a:ext cx="10363200" cy="3649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Indications for tapering long term opiates for non-cancer pain: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-US"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1. Inability to achieve or maintain anticipated pain relief or functional improvement despite    reasonable dose escalation.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2. Intolerable adverse effects at the minimum dose that produces effective analgesia, with reasonable attempts at opioid rotation unsuccessful.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3. Persistent nonadherence with patient treatment agreement.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4. Deterioration in physical, emotional, or social functioning attributed to opioid therapy.</a:t>
            </a:r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5. Resolution or healing of the painful condition.</a:t>
            </a:r>
            <a:endParaRPr sz="2000" dirty="0"/>
          </a:p>
          <a:p>
            <a:pPr marL="1143000" lvl="0" indent="-1143000" algn="l" rtl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>
                <a:sym typeface="Georgia"/>
              </a:rPr>
              <a:t>Tapering Long-term Opioid Therapy in Chronic Noncancer Pain:  </a:t>
            </a:r>
            <a:r>
              <a:rPr lang="en-US" sz="2000" dirty="0">
                <a:sym typeface="Arial"/>
                <a:hlinkClick r:id="rId3"/>
              </a:rPr>
              <a:t>10.1016/j.mayocp.2015.04.003</a:t>
            </a:r>
            <a:endParaRPr sz="20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-US" sz="2000" dirty="0"/>
              <a:t>	</a:t>
            </a:r>
            <a:endParaRPr sz="20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g7aab3cfde4_0_0"/>
          <p:cNvSpPr txBox="1">
            <a:spLocks noGrp="1"/>
          </p:cNvSpPr>
          <p:nvPr>
            <p:ph type="title" idx="4294967295"/>
          </p:nvPr>
        </p:nvSpPr>
        <p:spPr>
          <a:xfrm>
            <a:off x="0" y="609600"/>
            <a:ext cx="10363200" cy="1455738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latin typeface="+mn-lt"/>
              </a:rPr>
              <a:t>Risks</a:t>
            </a:r>
            <a:endParaRPr sz="2400" dirty="0">
              <a:latin typeface="+mn-lt"/>
            </a:endParaRPr>
          </a:p>
        </p:txBody>
      </p:sp>
      <p:sp>
        <p:nvSpPr>
          <p:cNvPr id="178" name="Google Shape;178;g7aab3cfde4_0_0"/>
          <p:cNvSpPr txBox="1">
            <a:spLocks noGrp="1"/>
          </p:cNvSpPr>
          <p:nvPr>
            <p:ph type="body" idx="4294967295"/>
          </p:nvPr>
        </p:nvSpPr>
        <p:spPr>
          <a:xfrm>
            <a:off x="0" y="1610851"/>
            <a:ext cx="9572625" cy="3394075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en-US" sz="18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en-US" sz="1800" dirty="0"/>
          </a:p>
          <a:p>
            <a:pPr marL="285750" indent="-171450">
              <a:spcBef>
                <a:spcPts val="0"/>
              </a:spcBef>
              <a:buClr>
                <a:schemeClr val="dk1"/>
              </a:buClr>
              <a:buSzPts val="1800"/>
              <a:buNone/>
            </a:pPr>
            <a:endParaRPr lang="en-US" sz="18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en-US" sz="18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en-US" sz="18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en-US" sz="18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lang="en-US" sz="1800" dirty="0"/>
          </a:p>
          <a:p>
            <a:pPr marL="285750" lvl="0" indent="-1714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r>
              <a:rPr lang="en-US" sz="2000" dirty="0"/>
              <a:t>Short Term Risks			Long Term Risk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Withdrawal			1.Relapse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Increased Pain			2.Function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endParaRPr lang="en-US"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-US" sz="2000" dirty="0"/>
              <a:t>Drop-Out			3.Medical-Legal Implications</a:t>
            </a:r>
            <a:r>
              <a:rPr lang="en-US" sz="1800" dirty="0"/>
              <a:t>	</a:t>
            </a:r>
            <a:endParaRPr sz="18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800" dirty="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rPr>
              <a:t>Tapering Long-term Opioid Therapy in Chronic Noncancer Pain:  </a:t>
            </a:r>
            <a:r>
              <a:rPr lang="en-US" sz="1800" u="sng" dirty="0">
                <a:solidFill>
                  <a:schemeClr val="hlink"/>
                </a:solidFill>
                <a:latin typeface="Arial"/>
                <a:ea typeface="Arial"/>
                <a:cs typeface="Arial"/>
                <a:sym typeface="Arial"/>
                <a:hlinkClick r:id="rId3"/>
              </a:rPr>
              <a:t>10.1016/j.mayocp.2015.04.003</a:t>
            </a:r>
            <a:endParaRPr sz="1800" dirty="0"/>
          </a:p>
          <a:p>
            <a:pPr marL="0" lvl="0" indent="0" algn="l" rtl="0">
              <a:spcBef>
                <a:spcPts val="0"/>
              </a:spcBef>
              <a:spcAft>
                <a:spcPts val="100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g75bd6d2cca_0_0"/>
          <p:cNvSpPr txBox="1">
            <a:spLocks noGrp="1"/>
          </p:cNvSpPr>
          <p:nvPr>
            <p:ph type="title"/>
          </p:nvPr>
        </p:nvSpPr>
        <p:spPr>
          <a:xfrm>
            <a:off x="609600" y="745525"/>
            <a:ext cx="10363200" cy="1456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+mn-lt"/>
              </a:rPr>
              <a:t>Primary care management of opioid use disorders: Abstinence, methadone, or buprenorphine-naloxone?</a:t>
            </a:r>
            <a:endParaRPr sz="2400" dirty="0">
              <a:latin typeface="+mn-lt"/>
            </a:endParaRPr>
          </a:p>
        </p:txBody>
      </p:sp>
      <p:sp>
        <p:nvSpPr>
          <p:cNvPr id="184" name="Google Shape;184;g75bd6d2cca_0_0"/>
          <p:cNvSpPr txBox="1">
            <a:spLocks noGrp="1"/>
          </p:cNvSpPr>
          <p:nvPr>
            <p:ph type="body" idx="1"/>
          </p:nvPr>
        </p:nvSpPr>
        <p:spPr>
          <a:xfrm>
            <a:off x="609600" y="2488057"/>
            <a:ext cx="10363200" cy="3649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2000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dirty="0"/>
              <a:t>Options are abstinence, taper to safer dose, Methadone, Buprenorphine.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Consider patient Factors:  </a:t>
            </a:r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High risk for drop-out → Methadone Recommended</a:t>
            </a:r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High risk for toxicity  → Buprenorphine Recommended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2000" dirty="0"/>
              <a:t>Bottom Line:  Opioid agonist therapy is far more effective than abstinence in treating OUD.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r>
              <a:rPr lang="en-US" sz="1800" dirty="0"/>
              <a:t> </a:t>
            </a:r>
            <a:endParaRPr sz="1800" dirty="0"/>
          </a:p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None/>
            </a:pPr>
            <a:endParaRPr sz="1200" dirty="0">
              <a:solidFill>
                <a:srgbClr val="FFFFFF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>
                <a:solidFill>
                  <a:srgbClr val="FFFFFF"/>
                </a:solidFill>
                <a:highlight>
                  <a:srgbClr val="FFFFFF"/>
                </a:highlight>
              </a:rPr>
              <a:t>	</a:t>
            </a:r>
            <a:endParaRPr sz="1200" dirty="0">
              <a:solidFill>
                <a:srgbClr val="FFFFFF"/>
              </a:solidFill>
              <a:highlight>
                <a:srgbClr val="FFFFFF"/>
              </a:highlight>
            </a:endParaRPr>
          </a:p>
          <a:p>
            <a:pPr marL="0" lvl="0" indent="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200" dirty="0">
                <a:solidFill>
                  <a:srgbClr val="FFFFFF"/>
                </a:solidFill>
              </a:rPr>
              <a:t>Canadian Family Physician March 2017, 63 (3) 200-205; Anita Srivastava, </a:t>
            </a:r>
            <a:r>
              <a:rPr lang="en-US" sz="1200" dirty="0" err="1">
                <a:solidFill>
                  <a:srgbClr val="FFFFFF"/>
                </a:solidFill>
              </a:rPr>
              <a:t>Meldon</a:t>
            </a:r>
            <a:r>
              <a:rPr lang="en-US" sz="1200" dirty="0">
                <a:solidFill>
                  <a:srgbClr val="FFFFFF"/>
                </a:solidFill>
              </a:rPr>
              <a:t> Kahan and Maya Nader</a:t>
            </a:r>
            <a:endParaRPr sz="1200" dirty="0">
              <a:solidFill>
                <a:srgbClr val="FFFFFF"/>
              </a:solidFill>
            </a:endParaRPr>
          </a:p>
          <a:p>
            <a:pPr marL="0" lvl="0" indent="0" algn="l" rtl="0">
              <a:spcBef>
                <a:spcPts val="1500"/>
              </a:spcBef>
              <a:spcAft>
                <a:spcPts val="1000"/>
              </a:spcAft>
              <a:buNone/>
            </a:pPr>
            <a:endParaRPr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g75bd6d2cca_0_5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dirty="0">
                <a:latin typeface="+mn-lt"/>
              </a:rPr>
              <a:t>Conversion from High-Dose Full-Opioid Agonists to Sublingual Buprenorphine Reduces Pain Scores and Improves Quality of Life for Chronic Pain Patients</a:t>
            </a:r>
            <a:endParaRPr sz="2400" dirty="0">
              <a:latin typeface="+mn-lt"/>
            </a:endParaRPr>
          </a:p>
        </p:txBody>
      </p:sp>
      <p:sp>
        <p:nvSpPr>
          <p:cNvPr id="190" name="Google Shape;190;g75bd6d2cca_0_5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35 patients, ages 24-66, on 200 mg-1370 mg (mean 500 mg) DME.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Switched them to Buprenorphine.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Conducted a retrospective chart analysis → pain levels and quality of life measures (pre- and 2 months post switch).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Pain Levels → decreased from 7.2/10 to 3.5/10</a:t>
            </a:r>
            <a:endParaRPr sz="2000"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Char char="•"/>
            </a:pPr>
            <a:r>
              <a:rPr lang="en-US" sz="2000" dirty="0"/>
              <a:t>Quality of Life Measures → increased from 6.1 to 7.1</a:t>
            </a:r>
            <a:endParaRPr sz="2000" dirty="0"/>
          </a:p>
          <a:p>
            <a:pPr marL="0" lvl="0" indent="0" algn="l" rtl="0">
              <a:spcBef>
                <a:spcPts val="1000"/>
              </a:spcBef>
              <a:spcAft>
                <a:spcPts val="0"/>
              </a:spcAft>
              <a:buNone/>
            </a:pPr>
            <a:endParaRPr sz="1800" dirty="0"/>
          </a:p>
          <a:p>
            <a:pPr marL="0" lvl="0" indent="0" algn="l" rtl="0">
              <a:spcBef>
                <a:spcPts val="1000"/>
              </a:spcBef>
              <a:spcAft>
                <a:spcPts val="1000"/>
              </a:spcAft>
              <a:buNone/>
            </a:pPr>
            <a:r>
              <a:rPr lang="en-US" sz="1200" i="1" dirty="0">
                <a:solidFill>
                  <a:srgbClr val="FFFFFF"/>
                </a:solidFill>
              </a:rPr>
              <a:t>Pain Medicine</a:t>
            </a:r>
            <a:r>
              <a:rPr lang="en-US" sz="1200" dirty="0">
                <a:solidFill>
                  <a:srgbClr val="FFFFFF"/>
                </a:solidFill>
              </a:rPr>
              <a:t>, Volume 15, Issue 12, December 2014, Pages 2087–2094,</a:t>
            </a:r>
            <a:r>
              <a:rPr lang="en-US" sz="1200" dirty="0">
                <a:solidFill>
                  <a:srgbClr val="FFFFFF"/>
                </a:solidFill>
                <a:uFill>
                  <a:noFill/>
                </a:uFill>
                <a:hlinkClick r:id="rId3"/>
              </a:rPr>
              <a:t> https://doi.org/10.1111/pme.12520</a:t>
            </a:r>
            <a:endParaRPr sz="12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LICvdPz0qWf4IC8.Ns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LICvdPz0qWf4IC8.Ns9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4EB9BA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5</TotalTime>
  <Words>1175</Words>
  <Application>Microsoft Macintosh PowerPoint</Application>
  <PresentationFormat>Widescreen</PresentationFormat>
  <Paragraphs>215</Paragraphs>
  <Slides>30</Slides>
  <Notes>26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rial</vt:lpstr>
      <vt:lpstr>Calibri</vt:lpstr>
      <vt:lpstr>Calibri Light</vt:lpstr>
      <vt:lpstr>Georgia</vt:lpstr>
      <vt:lpstr>Times New Roman</vt:lpstr>
      <vt:lpstr>Trebuchet MS</vt:lpstr>
      <vt:lpstr>Wingdings</vt:lpstr>
      <vt:lpstr>Office Theme</vt:lpstr>
      <vt:lpstr>Custom Design</vt:lpstr>
      <vt:lpstr>1_Custom Design</vt:lpstr>
      <vt:lpstr>PowerPoint Presentation</vt:lpstr>
      <vt:lpstr>PowerPoint Presentation</vt:lpstr>
      <vt:lpstr>TAKING THE PAIN OUT OF OPIATE REDUCTION </vt:lpstr>
      <vt:lpstr>PowerPoint Presentation</vt:lpstr>
      <vt:lpstr>OBJECTIVES</vt:lpstr>
      <vt:lpstr>Background/Literature</vt:lpstr>
      <vt:lpstr>Risks</vt:lpstr>
      <vt:lpstr>Primary care management of opioid use disorders: Abstinence, methadone, or buprenorphine-naloxone?</vt:lpstr>
      <vt:lpstr>Conversion from High-Dose Full-Opioid Agonists to Sublingual Buprenorphine Reduces Pain Scores and Improves Quality of Life for Chronic Pain Patients</vt:lpstr>
      <vt:lpstr>When opioids fail in chronic pain management: the role for buprenorphine and hospitalization</vt:lpstr>
      <vt:lpstr>   Evidence Based nonpharmacologic strategies for comprehensive pain care: the consortium pain task force white paper Tick H, Nielsen A, Pelletier KR, et al. Evidence-based nonpharmacologic strategies for comprehensive pain care: the consortium pain task force white paper. Explore (NY). 2018;14(3):177–211.  </vt:lpstr>
      <vt:lpstr>Nutrition and Pain   </vt:lpstr>
      <vt:lpstr>Barre Buprenorphine Program</vt:lpstr>
      <vt:lpstr>Barre Phases of Treatment</vt:lpstr>
      <vt:lpstr>PowerPoint Presentation</vt:lpstr>
      <vt:lpstr>PowerPoint Presentation</vt:lpstr>
      <vt:lpstr>PowerPoint Presentation</vt:lpstr>
      <vt:lpstr>PowerPoint Presentation</vt:lpstr>
      <vt:lpstr>Benedict Case Problem</vt:lpstr>
      <vt:lpstr>Benedict Opioid Treatment Goals</vt:lpstr>
      <vt:lpstr>Benedict Database Structure</vt:lpstr>
      <vt:lpstr>Transfer Panel of 485 patients</vt:lpstr>
      <vt:lpstr>12 Month Follow Up on 22 High Dose Opiate Patients</vt:lpstr>
      <vt:lpstr>PowerPoint Presentation</vt:lpstr>
      <vt:lpstr>Benedict Data -  12 month follow up</vt:lpstr>
      <vt:lpstr>EPIC EMR Best Practices</vt:lpstr>
      <vt:lpstr>Screen shot of epic </vt:lpstr>
      <vt:lpstr>Conclusions</vt:lpstr>
      <vt:lpstr>Questions and Your Insights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ynthia Jeremiah</dc:creator>
  <cp:lastModifiedBy>Microsoft Office User</cp:lastModifiedBy>
  <cp:revision>11</cp:revision>
  <dcterms:created xsi:type="dcterms:W3CDTF">2019-11-04T14:51:56Z</dcterms:created>
  <dcterms:modified xsi:type="dcterms:W3CDTF">2019-12-07T04:22:54Z</dcterms:modified>
</cp:coreProperties>
</file>